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</p:sldMasterIdLst>
  <p:notesMasterIdLst>
    <p:notesMasterId r:id="rId14"/>
  </p:notesMasterIdLst>
  <p:sldIdLst>
    <p:sldId id="294" r:id="rId4"/>
    <p:sldId id="306" r:id="rId5"/>
    <p:sldId id="822" r:id="rId6"/>
    <p:sldId id="821" r:id="rId7"/>
    <p:sldId id="833" r:id="rId8"/>
    <p:sldId id="836" r:id="rId9"/>
    <p:sldId id="831" r:id="rId10"/>
    <p:sldId id="829" r:id="rId11"/>
    <p:sldId id="837" r:id="rId12"/>
    <p:sldId id="275" r:id="rId13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625" autoAdjust="0"/>
  </p:normalViewPr>
  <p:slideViewPr>
    <p:cSldViewPr>
      <p:cViewPr varScale="1">
        <p:scale>
          <a:sx n="73" d="100"/>
          <a:sy n="73" d="100"/>
        </p:scale>
        <p:origin x="1470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253" custLinFactNeighborY="-23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B00826-AC6C-401C-8674-A5DF7E401C39}" type="presOf" srcId="{CBB2EDB4-08BF-49DB-9282-C363CE23E3D0}" destId="{8064A9E2-4365-4891-A563-4210D9FE6047}" srcOrd="1" destOrd="0" presId="urn:microsoft.com/office/officeart/2005/8/layout/pyramid1"/>
    <dgm:cxn modelId="{A7B1C608-FE22-4B4E-B0CA-16827C9934EA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5B00B66-E70E-46C8-9E0A-85EA0F7747DB}" type="presOf" srcId="{F014B99B-BC0F-4D51-AA35-03139CBC5BDF}" destId="{47753778-DDCD-4F66-8671-0963E55AC1AB}" srcOrd="0" destOrd="0" presId="urn:microsoft.com/office/officeart/2005/8/layout/pyramid1"/>
    <dgm:cxn modelId="{FB52C724-1ED3-4B90-98F2-FF6D2E8EF254}" type="presOf" srcId="{8380A261-4409-4C6B-8A07-0D64C5422F6D}" destId="{3405B94A-B110-4EB0-B99D-680A85764021}" srcOrd="0" destOrd="0" presId="urn:microsoft.com/office/officeart/2005/8/layout/pyramid1"/>
    <dgm:cxn modelId="{DDCFE0D0-C77B-4C02-BD59-8B73EA8EA223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9A70FBCE-6DA6-4D3E-B131-95FBD9E11F90}" type="presOf" srcId="{C055D918-0D48-44D3-9287-CAE1B93EB64A}" destId="{8C222443-D6D5-437E-8A06-7845FF64044F}" srcOrd="0" destOrd="0" presId="urn:microsoft.com/office/officeart/2005/8/layout/pyramid1"/>
    <dgm:cxn modelId="{8E8B1F27-8E25-42BE-9FDB-24DB10A7BA1A}" type="presOf" srcId="{8380A261-4409-4C6B-8A07-0D64C5422F6D}" destId="{EB789FCB-B92C-4A52-BB06-4A95FA62001B}" srcOrd="1" destOrd="0" presId="urn:microsoft.com/office/officeart/2005/8/layout/pyramid1"/>
    <dgm:cxn modelId="{F9C43761-7891-42B6-9A5A-9E21D946FED9}" type="presParOf" srcId="{8C222443-D6D5-437E-8A06-7845FF64044F}" destId="{8E592AC7-B094-488F-86DE-8B46AA43A5F7}" srcOrd="0" destOrd="0" presId="urn:microsoft.com/office/officeart/2005/8/layout/pyramid1"/>
    <dgm:cxn modelId="{84200684-A89B-4906-97C7-96C117FAB601}" type="presParOf" srcId="{8E592AC7-B094-488F-86DE-8B46AA43A5F7}" destId="{47753778-DDCD-4F66-8671-0963E55AC1AB}" srcOrd="0" destOrd="0" presId="urn:microsoft.com/office/officeart/2005/8/layout/pyramid1"/>
    <dgm:cxn modelId="{FC34F9DD-F1AF-45E6-9A7D-CA84AF03AB13}" type="presParOf" srcId="{8E592AC7-B094-488F-86DE-8B46AA43A5F7}" destId="{158BBE6D-1C8E-4142-827F-B1B32D20364B}" srcOrd="1" destOrd="0" presId="urn:microsoft.com/office/officeart/2005/8/layout/pyramid1"/>
    <dgm:cxn modelId="{E0F08396-3520-4915-93E8-17F81E055CE1}" type="presParOf" srcId="{8C222443-D6D5-437E-8A06-7845FF64044F}" destId="{08609C55-E487-4600-AFD0-8994D3888F22}" srcOrd="1" destOrd="0" presId="urn:microsoft.com/office/officeart/2005/8/layout/pyramid1"/>
    <dgm:cxn modelId="{16E46928-399F-4334-B708-4C9BCC04975E}" type="presParOf" srcId="{08609C55-E487-4600-AFD0-8994D3888F22}" destId="{7099C5AD-A666-455F-9144-31509FAE35FB}" srcOrd="0" destOrd="0" presId="urn:microsoft.com/office/officeart/2005/8/layout/pyramid1"/>
    <dgm:cxn modelId="{771AB4CB-74B9-48FC-9779-98E94CF9886A}" type="presParOf" srcId="{08609C55-E487-4600-AFD0-8994D3888F22}" destId="{8064A9E2-4365-4891-A563-4210D9FE6047}" srcOrd="1" destOrd="0" presId="urn:microsoft.com/office/officeart/2005/8/layout/pyramid1"/>
    <dgm:cxn modelId="{6AA5CA64-D0C1-4DC0-97F8-3A64BFFD9957}" type="presParOf" srcId="{8C222443-D6D5-437E-8A06-7845FF64044F}" destId="{4E66420A-6794-4210-A8DC-A681DFE94B26}" srcOrd="2" destOrd="0" presId="urn:microsoft.com/office/officeart/2005/8/layout/pyramid1"/>
    <dgm:cxn modelId="{8CE43D19-62A7-40FA-93D4-FC0DADE7B412}" type="presParOf" srcId="{4E66420A-6794-4210-A8DC-A681DFE94B26}" destId="{3405B94A-B110-4EB0-B99D-680A85764021}" srcOrd="0" destOrd="0" presId="urn:microsoft.com/office/officeart/2005/8/layout/pyramid1"/>
    <dgm:cxn modelId="{332BE852-B729-4BC0-A48E-ABF1B26E21AA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125148" y="0"/>
          <a:ext cx="1125148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125148" y="0"/>
        <a:ext cx="1125148" cy="1729979"/>
      </dsp:txXfrm>
    </dsp:sp>
    <dsp:sp modelId="{7099C5AD-A666-455F-9144-31509FAE35FB}">
      <dsp:nvSpPr>
        <dsp:cNvPr id="0" name=""/>
        <dsp:cNvSpPr/>
      </dsp:nvSpPr>
      <dsp:spPr>
        <a:xfrm>
          <a:off x="558546" y="1746742"/>
          <a:ext cx="2250296" cy="1729979"/>
        </a:xfrm>
        <a:prstGeom prst="trapezoid">
          <a:avLst>
            <a:gd name="adj" fmla="val 32519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952348" y="1746742"/>
        <a:ext cx="1462692" cy="1729979"/>
      </dsp:txXfrm>
    </dsp:sp>
    <dsp:sp modelId="{3405B94A-B110-4EB0-B99D-680A85764021}">
      <dsp:nvSpPr>
        <dsp:cNvPr id="0" name=""/>
        <dsp:cNvSpPr/>
      </dsp:nvSpPr>
      <dsp:spPr>
        <a:xfrm>
          <a:off x="0" y="3420047"/>
          <a:ext cx="3375445" cy="1729979"/>
        </a:xfrm>
        <a:prstGeom prst="trapezoid">
          <a:avLst>
            <a:gd name="adj" fmla="val 32519"/>
          </a:avLst>
        </a:prstGeom>
        <a:solidFill>
          <a:srgbClr val="00B0F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590702" y="3420047"/>
        <a:ext cx="2194039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4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9800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51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62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935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133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937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248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841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15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499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90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139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939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14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03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3638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59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3252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77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97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02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2062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742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4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4.10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4.10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4.10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4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4.10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4.10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65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4.10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image" Target="../media/image2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6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916386" y="796474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«Троицкий технологический техникум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683568" y="1708619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33" y="5119241"/>
            <a:ext cx="48515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err="1" smtClean="0"/>
              <a:t>Павлищук</a:t>
            </a:r>
            <a:r>
              <a:rPr lang="ru-RU" dirty="0" smtClean="0"/>
              <a:t> Галина Александровна,</a:t>
            </a:r>
          </a:p>
          <a:p>
            <a:r>
              <a:rPr lang="ru-RU" dirty="0" smtClean="0"/>
              <a:t>заместитель директора по УМР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52"/>
            <a:ext cx="7624018" cy="224676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сбора оперативной информации в ГБПОУ «Троицкий технологический техникум».</a:t>
            </a: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82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9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72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9" y="572641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204" name="Picture 156"/>
          <p:cNvPicPr>
            <a:picLocks noGrp="1" noChangeAspect="1" noChangeArrowheads="1"/>
          </p:cNvPicPr>
          <p:nvPr>
            <p:ph idx="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314" y="1572099"/>
            <a:ext cx="6506124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9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959981"/>
            <a:ext cx="8712968" cy="5637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7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12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7" y="959978"/>
            <a:ext cx="4379820" cy="5166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6" y="788579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уководитель и команда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7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12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1" y="1600206"/>
            <a:ext cx="6995120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Руководитель проекта –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Павлищук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Галина Александровна, заместитель директора по УМР</a:t>
            </a:r>
          </a:p>
          <a:p>
            <a:pPr marL="0" indent="0"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Команда проекта:</a:t>
            </a:r>
          </a:p>
          <a:p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Ращектаева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Ирина Ивановна, методист</a:t>
            </a:r>
          </a:p>
          <a:p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Тимофеева Лариса Михайловна, методист</a:t>
            </a:r>
          </a:p>
          <a:p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Аскерова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Альбина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Файзулловна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, методист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97806" y="1440568"/>
            <a:ext cx="1294674" cy="126222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671267" y="5254542"/>
            <a:ext cx="1230028" cy="106628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7633022" y="4093654"/>
            <a:ext cx="1192935" cy="105498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7633020" y="2826241"/>
            <a:ext cx="1224136" cy="115212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 descr="C:\Users\галина\Desktop\Documents\Галина Александровна\clip_image003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806" y="1440569"/>
            <a:ext cx="1303489" cy="1262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 descr="C:\Users\нина николаевна\Desktop\1713500645443.jpg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97806" y="2775470"/>
            <a:ext cx="1287913" cy="1253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Рисунок 18" descr="C:\Users\нина николаевна\Desktop\IMG-20240419-WA0013.jpg"/>
          <p:cNvPicPr/>
          <p:nvPr/>
        </p:nvPicPr>
        <p:blipFill>
          <a:blip r:embed="rId7"/>
          <a:srcRect l="21615" t="30827" r="71068" b="58233"/>
          <a:stretch>
            <a:fillRect/>
          </a:stretch>
        </p:blipFill>
        <p:spPr bwMode="auto">
          <a:xfrm>
            <a:off x="7633020" y="4029139"/>
            <a:ext cx="1228819" cy="1178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19" descr="C:\Users\нина николаевна\Desktop\IMG-20240419-WA0010.jpg"/>
          <p:cNvPicPr/>
          <p:nvPr/>
        </p:nvPicPr>
        <p:blipFill>
          <a:blip r:embed="rId8" cstate="print"/>
          <a:srcRect l="23884" t="10208" r="5833" b="33333"/>
          <a:stretch>
            <a:fillRect/>
          </a:stretch>
        </p:blipFill>
        <p:spPr bwMode="auto">
          <a:xfrm>
            <a:off x="7628034" y="5254541"/>
            <a:ext cx="1273261" cy="13401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5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074" name="Picture 2" descr="C:\Users\галина\Downloads\photo_5420516961600788921_y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9977"/>
            <a:ext cx="9144000" cy="5492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48489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6</a:t>
            </a:fld>
            <a:endParaRPr lang="ru-RU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88640"/>
            <a:ext cx="9252520" cy="6669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5342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Содержимое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4556784"/>
              </p:ext>
            </p:extLst>
          </p:nvPr>
        </p:nvGraphicFramePr>
        <p:xfrm>
          <a:off x="347353" y="1484787"/>
          <a:ext cx="8470076" cy="44199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80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417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6031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 </a:t>
                      </a: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ренная причина</a:t>
                      </a: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соб</a:t>
                      </a:r>
                      <a:r>
                        <a:rPr lang="ru-RU" sz="1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шения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Отсутствие</a:t>
                      </a:r>
                      <a:r>
                        <a:rPr lang="ru-RU" alt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лектронной формы запрашиваемой информации</a:t>
                      </a:r>
                      <a:endParaRPr lang="ru-RU" alt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диной базы информации  о деятельности педагогических работников техникума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3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единой базы информации  о деятельности педагогических работников техникума</a:t>
                      </a:r>
                    </a:p>
                    <a:p>
                      <a:pPr algn="just"/>
                      <a:endParaRPr lang="ru-RU" sz="13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Использование</a:t>
                      </a:r>
                      <a:r>
                        <a:rPr lang="ru-RU" alt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бумажных носителей для сбора  информации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полнение бумажного варианта отчетной документации. Отсутствие стандарта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дачи отчетов. </a:t>
                      </a:r>
                      <a:endParaRPr lang="ru-RU" sz="1400" b="1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электронной</a:t>
                      </a:r>
                      <a:r>
                        <a:rPr lang="ru-RU" sz="1400" b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ормы сдачи отчетов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Нет</a:t>
                      </a:r>
                      <a:r>
                        <a:rPr lang="ru-RU" alt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эффективной формы при проверке возникающих ошибок при сборе информации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применения в работе электронных форм для сбора и обработки информ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Яндекс </a:t>
                      </a:r>
                      <a:r>
                        <a:rPr lang="ru-RU" sz="1400" b="1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лицедля</a:t>
                      </a: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дачи отчетной документации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31535">
                <a:tc>
                  <a:txBody>
                    <a:bodyPr/>
                    <a:lstStyle/>
                    <a:p>
                      <a:pPr algn="just"/>
                      <a:r>
                        <a:rPr lang="ru-RU" altLang="ru-RU" sz="1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Временные</a:t>
                      </a:r>
                      <a:r>
                        <a:rPr lang="ru-RU" altLang="ru-RU" sz="1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потери при составление окончательного запроса по предоставлению необходимой информации</a:t>
                      </a:r>
                      <a:endParaRPr lang="ru-RU" altLang="ru-RU" sz="14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70" marR="68570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хватка времени на обработку информации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Яндекс таблицы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79" marR="68579" marT="45739" marB="45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2573778" y="788579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814" y="384436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5558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956313" y="179609"/>
            <a:ext cx="2484277" cy="360040"/>
          </a:xfrm>
        </p:spPr>
        <p:txBody>
          <a:bodyPr rtlCol="0">
            <a:noAutofit/>
          </a:bodyPr>
          <a:lstStyle/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4" y="6429375"/>
            <a:ext cx="260747" cy="285750"/>
          </a:xfrm>
        </p:spPr>
        <p:txBody>
          <a:bodyPr/>
          <a:lstStyle/>
          <a:p>
            <a:pPr algn="ctr">
              <a:defRPr/>
            </a:pPr>
            <a:r>
              <a:rPr lang="ru-RU" b="1" dirty="0" smtClean="0">
                <a:solidFill>
                  <a:srgbClr val="5B9BD5">
                    <a:lumMod val="50000"/>
                  </a:srgbClr>
                </a:solidFill>
              </a:rPr>
              <a:t>1</a:t>
            </a:r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7053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6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21487665"/>
              </p:ext>
            </p:extLst>
          </p:nvPr>
        </p:nvGraphicFramePr>
        <p:xfrm>
          <a:off x="1235887" y="959979"/>
          <a:ext cx="3375445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602772" y="1556793"/>
            <a:ext cx="4205750" cy="79208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едеральном уровне – не выявлен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619884" y="2492897"/>
            <a:ext cx="4188638" cy="79208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гиональном уровне – не выявлены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33182" y="3429000"/>
            <a:ext cx="4162049" cy="30229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тсутствие электронной формы сдачи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прашиваемой информации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спользование бумажных носителей для сбора информации 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       3.Отсутствие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эффективной </a:t>
            </a:r>
            <a:r>
              <a:rPr lang="ru-RU" alt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а сбора информации	 </a:t>
            </a:r>
            <a:r>
              <a:rPr lang="ru-RU" alt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		 4. 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Временные потери при проверке возникающих ошибок при сборе </a:t>
            </a: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формации                                                5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. Временные потери при составление окончательного запроса по предоставлению необходимой информации																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665379" y="5416091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337166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008953" y="5472381"/>
            <a:ext cx="484584" cy="49431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5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7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4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6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680740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839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/>
          </a:p>
        </p:txBody>
      </p:sp>
      <p:pic>
        <p:nvPicPr>
          <p:cNvPr id="6" name="Объект 5"/>
          <p:cNvPicPr>
            <a:picLocks noGrp="1"/>
          </p:cNvPicPr>
          <p:nvPr>
            <p:ph idx="1"/>
          </p:nvPr>
        </p:nvPicPr>
        <p:blipFill rotWithShape="1">
          <a:blip r:embed="rId2"/>
          <a:srcRect l="1236" t="5664" r="25109" b="7918"/>
          <a:stretch/>
        </p:blipFill>
        <p:spPr bwMode="auto">
          <a:xfrm>
            <a:off x="323528" y="404664"/>
            <a:ext cx="8640960" cy="61206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572475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0</TotalTime>
  <Words>275</Words>
  <Application>Microsoft Office PowerPoint</Application>
  <PresentationFormat>Экран (4:3)</PresentationFormat>
  <Paragraphs>73</Paragraphs>
  <Slides>1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Arial</vt:lpstr>
      <vt:lpstr>Calibri</vt:lpstr>
      <vt:lpstr>Calibri Light</vt:lpstr>
      <vt:lpstr>Times New Roman</vt:lpstr>
      <vt:lpstr>Тема Office</vt:lpstr>
      <vt:lpstr>2_Тема Office</vt:lpstr>
      <vt:lpstr>1_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Челябинская область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 Windows</cp:lastModifiedBy>
  <cp:revision>181</cp:revision>
  <cp:lastPrinted>2024-06-10T07:54:26Z</cp:lastPrinted>
  <dcterms:created xsi:type="dcterms:W3CDTF">2018-08-20T14:01:12Z</dcterms:created>
  <dcterms:modified xsi:type="dcterms:W3CDTF">2024-10-04T08:14:59Z</dcterms:modified>
</cp:coreProperties>
</file>